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5"/>
  </p:notesMasterIdLst>
  <p:sldIdLst>
    <p:sldId id="392" r:id="rId2"/>
    <p:sldId id="393" r:id="rId3"/>
    <p:sldId id="394" r:id="rId4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92" d="100"/>
          <a:sy n="92" d="100"/>
        </p:scale>
        <p:origin x="105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0/05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1 Private Water Hedge Sa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304806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Soft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2055534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2 – Hard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Soft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2 – Hard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305569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Soft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984000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4800" y="1594716"/>
            <a:ext cx="863600" cy="680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stCxn id="24" idx="3"/>
            <a:endCxn id="27" idx="1"/>
          </p:cNvCxnSpPr>
          <p:nvPr/>
        </p:nvCxnSpPr>
        <p:spPr>
          <a:xfrm flipV="1">
            <a:off x="4124325" y="2924497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stCxn id="24" idx="3"/>
            <a:endCxn id="28" idx="1"/>
          </p:cNvCxnSpPr>
          <p:nvPr/>
        </p:nvCxnSpPr>
        <p:spPr>
          <a:xfrm>
            <a:off x="4124325" y="3403667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4FF7BDB-3356-4FF1-92A4-EE72D5B4B53B}"/>
              </a:ext>
            </a:extLst>
          </p:cNvPr>
          <p:cNvCxnSpPr>
            <a:stCxn id="6" idx="3"/>
            <a:endCxn id="29" idx="1"/>
          </p:cNvCxnSpPr>
          <p:nvPr/>
        </p:nvCxnSpPr>
        <p:spPr>
          <a:xfrm>
            <a:off x="4124325" y="5525288"/>
            <a:ext cx="8540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Operational Expens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770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2874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68273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Chem-Exp (001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11755"/>
            <a:ext cx="854073" cy="2312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643019"/>
            <a:ext cx="854073" cy="3621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1589829"/>
            <a:ext cx="863600" cy="4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Utility-Exp (002) - Heating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Utility-Exp (002) - Electricity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Maintenance (001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7" y="403923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Outages (002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7" y="446312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Op. Costs (003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Admin Costs (004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Labour Costs (001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6128286"/>
            <a:ext cx="854071" cy="27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727530"/>
            <a:ext cx="854073" cy="70180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54071" cy="56031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Maintenance (001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Outages (002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Op. Costs (003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114800" y="1211419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001 Private Water Hedge Sales 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114800" y="1570110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002 Public Sales 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114800" y="1928801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003 Residential Sales 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332975"/>
            <a:ext cx="408648" cy="3626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5468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Soft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2 – Hard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Soft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Hard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2840" y="19585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W-Transact (0211 – Soft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14602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332975"/>
            <a:ext cx="165691" cy="6759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6038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91666"/>
            <a:ext cx="169753" cy="1532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 flipV="1">
            <a:off x="6407149" y="2048780"/>
            <a:ext cx="165691" cy="1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Chemical Costs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Facility Costs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Operational Maintenance Costs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Labour Costs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772911" y="5021389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Chem-Exp (001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Utility-Exp (002) - Heating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Utility-Exp (002) - Electricity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solidFill>
                  <a:schemeClr val="bg1"/>
                </a:solidFill>
              </a:rPr>
              <a:t>Operational Maintenance Costs – Plant Admin Costs (004)</a:t>
            </a:r>
            <a:endParaRPr lang="en-AU" sz="900" b="1" dirty="0" err="1">
              <a:solidFill>
                <a:schemeClr val="bg1"/>
              </a:solidFill>
            </a:endParaRP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Labour Costs (001)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04</TotalTime>
  <Words>261</Words>
  <Application>Microsoft Office PowerPoint</Application>
  <PresentationFormat>Custom</PresentationFormat>
  <Paragraphs>62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1_Synergy_CF_YNR013</vt:lpstr>
      <vt:lpstr>think-cell Slide</vt:lpstr>
      <vt:lpstr>Revenue Value Driver Tree</vt:lpstr>
      <vt:lpstr>Expenses Value Driver Tre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hristopher H</cp:lastModifiedBy>
  <cp:revision>32</cp:revision>
  <dcterms:created xsi:type="dcterms:W3CDTF">2020-04-12T13:23:13Z</dcterms:created>
  <dcterms:modified xsi:type="dcterms:W3CDTF">2020-05-20T07:13:24Z</dcterms:modified>
</cp:coreProperties>
</file>